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497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orient="horz" pos="3784" userDrawn="1">
          <p15:clr>
            <a:srgbClr val="A4A3A4"/>
          </p15:clr>
        </p15:guide>
        <p15:guide id="4" orient="horz" pos="944" userDrawn="1">
          <p15:clr>
            <a:srgbClr val="A4A3A4"/>
          </p15:clr>
        </p15:guide>
        <p15:guide id="5" pos="414" userDrawn="1">
          <p15:clr>
            <a:srgbClr val="A4A3A4"/>
          </p15:clr>
        </p15:guide>
        <p15:guide id="6" pos="5459" userDrawn="1">
          <p15:clr>
            <a:srgbClr val="A4A3A4"/>
          </p15:clr>
        </p15:guide>
        <p15:guide id="7" pos="2963" userDrawn="1">
          <p15:clr>
            <a:srgbClr val="A4A3A4"/>
          </p15:clr>
        </p15:guide>
        <p15:guide id="8" orient="horz" pos="3264" userDrawn="1">
          <p15:clr>
            <a:srgbClr val="A4A3A4"/>
          </p15:clr>
        </p15:guide>
        <p15:guide id="9" orient="horz" pos="1253" userDrawn="1">
          <p15:clr>
            <a:srgbClr val="A4A3A4"/>
          </p15:clr>
        </p15:guide>
        <p15:guide id="10" pos="4464" userDrawn="1">
          <p15:clr>
            <a:srgbClr val="A4A3A4"/>
          </p15:clr>
        </p15:guide>
        <p15:guide id="11" pos="3401" userDrawn="1">
          <p15:clr>
            <a:srgbClr val="A4A3A4"/>
          </p15:clr>
        </p15:guide>
        <p15:guide id="12" pos="417" userDrawn="1">
          <p15:clr>
            <a:srgbClr val="A4A3A4"/>
          </p15:clr>
        </p15:guide>
        <p15:guide id="13" pos="59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4B00"/>
    <a:srgbClr val="FF0000"/>
    <a:srgbClr val="FFDF7F"/>
    <a:srgbClr val="FFFFFF"/>
    <a:srgbClr val="FF9900"/>
    <a:srgbClr val="E7FFB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17292A2E-F333-43FB-9621-5CBBE7FDCDCB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788" autoAdjust="0"/>
    <p:restoredTop sz="95280" autoAdjust="0"/>
  </p:normalViewPr>
  <p:slideViewPr>
    <p:cSldViewPr snapToGrid="0">
      <p:cViewPr varScale="1">
        <p:scale>
          <a:sx n="110" d="100"/>
          <a:sy n="110" d="100"/>
        </p:scale>
        <p:origin x="1926" y="114"/>
      </p:cViewPr>
      <p:guideLst>
        <p:guide orient="horz" pos="2160"/>
        <p:guide pos="2880"/>
        <p:guide orient="horz" pos="3784"/>
        <p:guide orient="horz" pos="944"/>
        <p:guide pos="414"/>
        <p:guide pos="5459"/>
        <p:guide pos="2963"/>
        <p:guide orient="horz" pos="3264"/>
        <p:guide orient="horz" pos="1253"/>
        <p:guide pos="4464"/>
        <p:guide pos="3401"/>
        <p:guide pos="417"/>
        <p:guide pos="591"/>
      </p:guideLst>
    </p:cSldViewPr>
  </p:slideViewPr>
  <p:outlineViewPr>
    <p:cViewPr>
      <p:scale>
        <a:sx n="33" d="100"/>
        <a:sy n="33" d="100"/>
      </p:scale>
      <p:origin x="0" y="-25277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1B621FC7-84DA-4CA9-BDA5-5CFB8B091C1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r>
              <a:rPr lang="de-DE"/>
              <a:t>Header</a:t>
            </a:r>
            <a:endParaRPr lang="en-GB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03A1451-F87F-43E8-BC97-D5859924C52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EC06D191-3064-4110-BA39-C2AF6EF2713E}" type="datetimeFigureOut">
              <a:rPr lang="en-GB"/>
              <a:pPr>
                <a:defRPr/>
              </a:pPr>
              <a:t>05/11/2020</a:t>
            </a:fld>
            <a:endParaRPr lang="en-GB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ECACC80-426E-4836-A0C5-12DD6E2E4DD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r>
              <a:rPr lang="de-DE"/>
              <a:t>Footer</a:t>
            </a:r>
            <a:endParaRPr lang="en-GB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39D6550-5C35-4804-BCED-CE62BF35633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9825D9A9-28A4-4A48-B593-B98A9D1E9C1A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3993FE54-143F-44F4-B9EA-63092C43C21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r>
              <a:rPr lang="en-GB"/>
              <a:t>Header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EAFDBA2-9A8E-48DB-91F5-20A9F1F0BB82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72CCD74D-CC02-48A0-B7AD-442590EEDE17}" type="datetimeFigureOut">
              <a:rPr lang="en-GB"/>
              <a:pPr>
                <a:defRPr/>
              </a:pPr>
              <a:t>05/11/2020</a:t>
            </a:fld>
            <a:endParaRPr lang="en-GB" dirty="0"/>
          </a:p>
        </p:txBody>
      </p:sp>
      <p:sp>
        <p:nvSpPr>
          <p:cNvPr id="4" name="Folienbildplatzhalter 3">
            <a:extLst>
              <a:ext uri="{FF2B5EF4-FFF2-40B4-BE49-F238E27FC236}">
                <a16:creationId xmlns:a16="http://schemas.microsoft.com/office/drawing/2014/main" id="{42AB1BF4-5720-4660-AED2-347686486894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352550" y="842963"/>
            <a:ext cx="4152900" cy="3114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GB" noProof="0"/>
          </a:p>
        </p:txBody>
      </p:sp>
      <p:sp>
        <p:nvSpPr>
          <p:cNvPr id="5" name="Notizenplatzhalter 4">
            <a:extLst>
              <a:ext uri="{FF2B5EF4-FFF2-40B4-BE49-F238E27FC236}">
                <a16:creationId xmlns:a16="http://schemas.microsoft.com/office/drawing/2014/main" id="{6B21C9F7-87D9-470B-91D0-FCCEF25E06E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34975" y="4197350"/>
            <a:ext cx="5988050" cy="42608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191D3CE6-5EC7-4E31-8A33-C549BA4D0E19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r>
              <a:rPr lang="en-GB"/>
              <a:t>Footer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7A80280-73D1-4D94-8D67-DB8774B3305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C620323A-DA39-4FF4-ABCD-30BC7C2D621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rtl="0" eaLnBrk="0" fontAlgn="base" hangingPunct="0">
      <a:spcBef>
        <a:spcPct val="30000"/>
      </a:spcBef>
      <a:spcAft>
        <a:spcPct val="0"/>
      </a:spcAft>
      <a:buClr>
        <a:srgbClr val="E64B00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rtl="0" eaLnBrk="0" fontAlgn="base" hangingPunct="0">
      <a:spcBef>
        <a:spcPct val="30000"/>
      </a:spcBef>
      <a:spcAft>
        <a:spcPct val="0"/>
      </a:spcAft>
      <a:buClr>
        <a:srgbClr val="E64B00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rtl="0" eaLnBrk="0" fontAlgn="base" hangingPunct="0">
      <a:spcBef>
        <a:spcPct val="30000"/>
      </a:spcBef>
      <a:spcAft>
        <a:spcPct val="0"/>
      </a:spcAft>
      <a:buClr>
        <a:srgbClr val="E64B00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rtl="0" eaLnBrk="0" fontAlgn="base" hangingPunct="0">
      <a:spcBef>
        <a:spcPct val="30000"/>
      </a:spcBef>
      <a:spcAft>
        <a:spcPct val="0"/>
      </a:spcAft>
      <a:buClr>
        <a:srgbClr val="E64B00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rtl="0" eaLnBrk="0" fontAlgn="base" hangingPunct="0">
      <a:spcBef>
        <a:spcPct val="30000"/>
      </a:spcBef>
      <a:spcAft>
        <a:spcPct val="0"/>
      </a:spcAft>
      <a:buClr>
        <a:srgbClr val="E64B00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6.xml"/><Relationship Id="rId7" Type="http://schemas.openxmlformats.org/officeDocument/2006/relationships/image" Target="../media/image2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rotWithShape="1">
          <a:gsLst>
            <a:gs pos="0">
              <a:schemeClr val="bg1"/>
            </a:gs>
            <a:gs pos="100000">
              <a:srgbClr val="D9D9D9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83" hidden="1">
            <a:extLst>
              <a:ext uri="{FF2B5EF4-FFF2-40B4-BE49-F238E27FC236}">
                <a16:creationId xmlns:a16="http://schemas.microsoft.com/office/drawing/2014/main" id="{1A4154AB-C19B-48A6-914B-F8C02831F4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3" y="1591"/>
          <a:ext cx="238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03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2050" name="Objekt 83" hidden="1">
                        <a:extLst>
                          <a:ext uri="{FF2B5EF4-FFF2-40B4-BE49-F238E27FC236}">
                            <a16:creationId xmlns:a16="http://schemas.microsoft.com/office/drawing/2014/main" id="{F6DB1090-8645-4D52-A094-860CB5ECF37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3" y="1591"/>
                        <a:ext cx="2381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5B26918-FBFE-44A2-8AE2-AD93379E3F9D}"/>
              </a:ext>
            </a:extLst>
          </p:cNvPr>
          <p:cNvSpPr txBox="1">
            <a:spLocks/>
          </p:cNvSpPr>
          <p:nvPr userDrawn="1"/>
        </p:nvSpPr>
        <p:spPr>
          <a:xfrm>
            <a:off x="657226" y="6551229"/>
            <a:ext cx="532197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0EA20956-BA84-4B4E-A28E-05A5A454B56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0" y="0"/>
            <a:ext cx="6858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47700" y="599650"/>
            <a:ext cx="8058150" cy="1231106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it-IT"/>
              <a:t>Fare clic per modificare lo stile del titolo dello schema</a:t>
            </a:r>
            <a:endParaRPr lang="en-GB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647704" y="2156110"/>
            <a:ext cx="6408737" cy="872034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</p:txBody>
      </p:sp>
    </p:spTree>
    <p:extLst>
      <p:ext uri="{BB962C8B-B14F-4D97-AF65-F5344CB8AC3E}">
        <p14:creationId xmlns:p14="http://schemas.microsoft.com/office/powerpoint/2010/main" val="3354231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4" hidden="1">
            <a:extLst>
              <a:ext uri="{FF2B5EF4-FFF2-40B4-BE49-F238E27FC236}">
                <a16:creationId xmlns:a16="http://schemas.microsoft.com/office/drawing/2014/main" id="{7088D08C-E7A8-4239-A70A-447374DE7F9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3" y="1591"/>
          <a:ext cx="238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84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074" name="Objekt 84" hidden="1">
                        <a:extLst>
                          <a:ext uri="{FF2B5EF4-FFF2-40B4-BE49-F238E27FC236}">
                            <a16:creationId xmlns:a16="http://schemas.microsoft.com/office/drawing/2014/main" id="{CCC237D7-6107-4264-A49D-A2E33A4D67D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3" y="1591"/>
                        <a:ext cx="2381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95870D1-D046-4E87-829E-B10D17B2C015}"/>
              </a:ext>
            </a:extLst>
          </p:cNvPr>
          <p:cNvSpPr txBox="1">
            <a:spLocks/>
          </p:cNvSpPr>
          <p:nvPr/>
        </p:nvSpPr>
        <p:spPr>
          <a:xfrm>
            <a:off x="1378744" y="6471854"/>
            <a:ext cx="350095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dirty="0">
                <a:solidFill>
                  <a:schemeClr val="bg2"/>
                </a:solidFill>
              </a:rPr>
              <a:t>Title, </a:t>
            </a:r>
            <a:fld id="{AF6A7A01-F0BB-4441-BAB9-3E7CB064C4A1}" type="datetime4">
              <a:rPr lang="en-GB" sz="900" smtClean="0">
                <a:solidFill>
                  <a:schemeClr val="bg2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05 November 2020</a:t>
            </a:fld>
            <a:r>
              <a:rPr lang="en-GB" sz="900" dirty="0"/>
              <a:t> </a:t>
            </a:r>
            <a:r>
              <a:rPr lang="en-GB" sz="900" dirty="0">
                <a:solidFill>
                  <a:schemeClr val="accent5"/>
                </a:solidFill>
              </a:rPr>
              <a:t>[</a:t>
            </a:r>
            <a:r>
              <a:rPr lang="en-US" sz="900" dirty="0">
                <a:solidFill>
                  <a:schemeClr val="accent5"/>
                </a:solidFill>
              </a:rPr>
              <a:t>Public / Internal / Restricted / Highly confidential]</a:t>
            </a:r>
            <a:endParaRPr lang="en-GB" sz="900" dirty="0">
              <a:solidFill>
                <a:schemeClr val="bg2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7A4AA16-8C05-41D3-AE13-FBED031224D6}"/>
              </a:ext>
            </a:extLst>
          </p:cNvPr>
          <p:cNvSpPr txBox="1">
            <a:spLocks/>
          </p:cNvSpPr>
          <p:nvPr/>
        </p:nvSpPr>
        <p:spPr>
          <a:xfrm>
            <a:off x="647701" y="6471854"/>
            <a:ext cx="461665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dirty="0">
                <a:solidFill>
                  <a:schemeClr val="bg2"/>
                </a:solidFill>
              </a:rPr>
              <a:t>Page </a:t>
            </a:r>
            <a:fld id="{1B9B72F4-75C2-4486-AB99-B57485918DA6}" type="slidenum">
              <a:rPr lang="en-GB" sz="900" smtClean="0">
                <a:solidFill>
                  <a:schemeClr val="bg2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6" name="Straight Connector 48">
            <a:extLst>
              <a:ext uri="{FF2B5EF4-FFF2-40B4-BE49-F238E27FC236}">
                <a16:creationId xmlns:a16="http://schemas.microsoft.com/office/drawing/2014/main" id="{FDFEC748-E07C-4944-94C8-E0EE02792E46}"/>
              </a:ext>
            </a:extLst>
          </p:cNvPr>
          <p:cNvCxnSpPr/>
          <p:nvPr/>
        </p:nvCxnSpPr>
        <p:spPr>
          <a:xfrm>
            <a:off x="647700" y="6381750"/>
            <a:ext cx="7992666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Immagine 15" descr="SidelLogoRGB.png">
            <a:extLst>
              <a:ext uri="{FF2B5EF4-FFF2-40B4-BE49-F238E27FC236}">
                <a16:creationId xmlns:a16="http://schemas.microsoft.com/office/drawing/2014/main" id="{9DF08BC4-C051-4993-8C25-0E1E27D1CD4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5517" y="6483353"/>
            <a:ext cx="703659" cy="25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MSIPCMac824d5a89b6858dd560e34c" descr="{&quot;HashCode&quot;:-1488328267,&quot;Placement&quot;:&quot;Footer&quot;,&quot;Top&quot;:521.6203,&quot;Left&quot;:453.911743,&quot;SlideWidth&quot;:960,&quot;SlideHeight&quot;:540}">
            <a:extLst>
              <a:ext uri="{FF2B5EF4-FFF2-40B4-BE49-F238E27FC236}">
                <a16:creationId xmlns:a16="http://schemas.microsoft.com/office/drawing/2014/main" id="{F74773F3-6003-450E-B1F3-68500396D22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323161" y="6672072"/>
            <a:ext cx="497681" cy="138499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1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it-IT" sz="900">
                <a:solidFill>
                  <a:srgbClr val="7F7F7F"/>
                </a:solidFill>
              </a:rPr>
              <a:t>General</a:t>
            </a:r>
          </a:p>
        </p:txBody>
      </p:sp>
      <p:graphicFrame>
        <p:nvGraphicFramePr>
          <p:cNvPr id="9" name="Objekt 82" hidden="1">
            <a:extLst>
              <a:ext uri="{FF2B5EF4-FFF2-40B4-BE49-F238E27FC236}">
                <a16:creationId xmlns:a16="http://schemas.microsoft.com/office/drawing/2014/main" id="{6F91B293-4082-494A-97AD-7D666548CB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193" y="1591"/>
          <a:ext cx="238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85" name="think-cell Folie" r:id="rId8" imgW="360" imgH="360" progId="TCLayout.ActiveDocument.1">
                  <p:embed/>
                </p:oleObj>
              </mc:Choice>
              <mc:Fallback>
                <p:oleObj name="think-cell Folie" r:id="rId8" imgW="360" imgH="360" progId="TCLayout.ActiveDocument.1">
                  <p:embed/>
                  <p:pic>
                    <p:nvPicPr>
                      <p:cNvPr id="3080" name="Objekt 82" hidden="1">
                        <a:extLst>
                          <a:ext uri="{FF2B5EF4-FFF2-40B4-BE49-F238E27FC236}">
                            <a16:creationId xmlns:a16="http://schemas.microsoft.com/office/drawing/2014/main" id="{4FF5A0B0-01BA-4C73-9ECF-E34B6630208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3" y="1591"/>
                        <a:ext cx="2381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4" y="334808"/>
            <a:ext cx="7993063" cy="923330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it-IT" noProof="1"/>
              <a:t>Fare clic per modificare lo stile del titolo dello schem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967830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4" y="334808"/>
            <a:ext cx="7993063" cy="923330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it-IT" noProof="1"/>
              <a:t>Fare clic per modificare lo stile del titolo dello schema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/>
          </p:nvPr>
        </p:nvSpPr>
        <p:spPr>
          <a:xfrm>
            <a:off x="647704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it-IT" noProof="1"/>
              <a:t>Modifica gli stili del testo dello schema</a:t>
            </a:r>
          </a:p>
          <a:p>
            <a:pPr lvl="1"/>
            <a:r>
              <a:rPr lang="it-IT" noProof="1"/>
              <a:t>Secondo livello</a:t>
            </a:r>
          </a:p>
          <a:p>
            <a:pPr lvl="2"/>
            <a:r>
              <a:rPr lang="it-IT" noProof="1"/>
              <a:t>Terzo livello</a:t>
            </a:r>
          </a:p>
          <a:p>
            <a:pPr lvl="3"/>
            <a:r>
              <a:rPr lang="it-IT" noProof="1"/>
              <a:t>Quarto livello</a:t>
            </a:r>
          </a:p>
          <a:p>
            <a:pPr lvl="4"/>
            <a:r>
              <a:rPr lang="it-IT" noProof="1"/>
              <a:t>Quinto livello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0608416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4" y="334808"/>
            <a:ext cx="7993063" cy="923330"/>
          </a:xfrm>
        </p:spPr>
        <p:txBody>
          <a:bodyPr/>
          <a:lstStyle/>
          <a:p>
            <a:r>
              <a:rPr lang="it-IT" noProof="1"/>
              <a:t>Fare clic per modificare lo stile del titolo dello schema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/>
          </p:nvPr>
        </p:nvSpPr>
        <p:spPr>
          <a:xfrm>
            <a:off x="647701" y="1485901"/>
            <a:ext cx="7993064" cy="4498974"/>
          </a:xfrm>
        </p:spPr>
        <p:txBody>
          <a:bodyPr/>
          <a:lstStyle/>
          <a:p>
            <a:pPr lvl="0"/>
            <a:r>
              <a:rPr lang="it-IT" noProof="1"/>
              <a:t>Modifica gli stili del testo dello schema</a:t>
            </a:r>
          </a:p>
          <a:p>
            <a:pPr lvl="1"/>
            <a:r>
              <a:rPr lang="it-IT" noProof="1"/>
              <a:t>Secondo livello</a:t>
            </a:r>
          </a:p>
          <a:p>
            <a:pPr lvl="2"/>
            <a:r>
              <a:rPr lang="it-IT" noProof="1"/>
              <a:t>Terzo livello</a:t>
            </a:r>
          </a:p>
          <a:p>
            <a:pPr lvl="3"/>
            <a:r>
              <a:rPr lang="it-IT" noProof="1"/>
              <a:t>Quarto livello</a:t>
            </a:r>
          </a:p>
          <a:p>
            <a:pPr lvl="4"/>
            <a:r>
              <a:rPr lang="it-IT" noProof="1"/>
              <a:t>Quinto livello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0112145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>
            <a:extLst>
              <a:ext uri="{FF2B5EF4-FFF2-40B4-BE49-F238E27FC236}">
                <a16:creationId xmlns:a16="http://schemas.microsoft.com/office/drawing/2014/main" id="{447E8AC6-7CFE-4DD1-B5E1-651AE33DC5A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3" y="1591"/>
          <a:ext cx="238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51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4098" name="Object 1" hidden="1">
                        <a:extLst>
                          <a:ext uri="{FF2B5EF4-FFF2-40B4-BE49-F238E27FC236}">
                            <a16:creationId xmlns:a16="http://schemas.microsoft.com/office/drawing/2014/main" id="{6654ED73-B109-4FC4-BAA4-7BFEC7F59B1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3" y="1591"/>
                        <a:ext cx="2381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magine 10">
            <a:extLst>
              <a:ext uri="{FF2B5EF4-FFF2-40B4-BE49-F238E27FC236}">
                <a16:creationId xmlns:a16="http://schemas.microsoft.com/office/drawing/2014/main" id="{45D6126B-DAA4-4EE5-B1B1-69ABDF37537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solidFill>
            <a:srgbClr val="C0504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uppieren 6">
            <a:extLst>
              <a:ext uri="{FF2B5EF4-FFF2-40B4-BE49-F238E27FC236}">
                <a16:creationId xmlns:a16="http://schemas.microsoft.com/office/drawing/2014/main" id="{5CBE7971-DC50-43DC-86DD-2FC5CF730C91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7946231" y="6481763"/>
            <a:ext cx="695325" cy="254000"/>
            <a:chOff x="5549665" y="6206561"/>
            <a:chExt cx="1423860" cy="388326"/>
          </a:xfrm>
        </p:grpSpPr>
        <p:sp>
          <p:nvSpPr>
            <p:cNvPr id="7" name="Freeform 18">
              <a:extLst>
                <a:ext uri="{FF2B5EF4-FFF2-40B4-BE49-F238E27FC236}">
                  <a16:creationId xmlns:a16="http://schemas.microsoft.com/office/drawing/2014/main" id="{A8FAAC5A-945B-46DC-BDD3-471457DE9B03}"/>
                </a:ext>
              </a:extLst>
            </p:cNvPr>
            <p:cNvSpPr>
              <a:spLocks/>
            </p:cNvSpPr>
            <p:nvPr/>
          </p:nvSpPr>
          <p:spPr bwMode="auto">
            <a:xfrm>
              <a:off x="5915069" y="6388588"/>
              <a:ext cx="118655" cy="95733"/>
            </a:xfrm>
            <a:custGeom>
              <a:avLst/>
              <a:gdLst>
                <a:gd name="T0" fmla="*/ 2147483646 w 88"/>
                <a:gd name="T1" fmla="*/ 2147483646 h 71"/>
                <a:gd name="T2" fmla="*/ 2147483646 w 88"/>
                <a:gd name="T3" fmla="*/ 0 h 71"/>
                <a:gd name="T4" fmla="*/ 2147483646 w 88"/>
                <a:gd name="T5" fmla="*/ 0 h 71"/>
                <a:gd name="T6" fmla="*/ 0 w 88"/>
                <a:gd name="T7" fmla="*/ 2147483646 h 71"/>
                <a:gd name="T8" fmla="*/ 2147483646 w 88"/>
                <a:gd name="T9" fmla="*/ 2147483646 h 7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88" h="71">
                  <a:moveTo>
                    <a:pt x="29" y="71"/>
                  </a:moveTo>
                  <a:lnTo>
                    <a:pt x="88" y="0"/>
                  </a:lnTo>
                  <a:lnTo>
                    <a:pt x="29" y="0"/>
                  </a:lnTo>
                  <a:lnTo>
                    <a:pt x="0" y="35"/>
                  </a:lnTo>
                  <a:lnTo>
                    <a:pt x="29" y="7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it-IT"/>
            </a:p>
          </p:txBody>
        </p:sp>
        <p:sp>
          <p:nvSpPr>
            <p:cNvPr id="8" name="Freeform 19">
              <a:extLst>
                <a:ext uri="{FF2B5EF4-FFF2-40B4-BE49-F238E27FC236}">
                  <a16:creationId xmlns:a16="http://schemas.microsoft.com/office/drawing/2014/main" id="{EDB763DB-DB40-4553-BC06-434019DBBB7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49665" y="6206561"/>
              <a:ext cx="1423860" cy="388326"/>
            </a:xfrm>
            <a:custGeom>
              <a:avLst/>
              <a:gdLst>
                <a:gd name="T0" fmla="*/ 2147483646 w 447"/>
                <a:gd name="T1" fmla="*/ 2147483646 h 122"/>
                <a:gd name="T2" fmla="*/ 2147483646 w 447"/>
                <a:gd name="T3" fmla="*/ 2147483646 h 122"/>
                <a:gd name="T4" fmla="*/ 2147483646 w 447"/>
                <a:gd name="T5" fmla="*/ 2147483646 h 122"/>
                <a:gd name="T6" fmla="*/ 2147483646 w 447"/>
                <a:gd name="T7" fmla="*/ 2147483646 h 122"/>
                <a:gd name="T8" fmla="*/ 2147483646 w 447"/>
                <a:gd name="T9" fmla="*/ 2147483646 h 122"/>
                <a:gd name="T10" fmla="*/ 2147483646 w 447"/>
                <a:gd name="T11" fmla="*/ 2147483646 h 122"/>
                <a:gd name="T12" fmla="*/ 2147483646 w 447"/>
                <a:gd name="T13" fmla="*/ 2147483646 h 122"/>
                <a:gd name="T14" fmla="*/ 0 w 447"/>
                <a:gd name="T15" fmla="*/ 2147483646 h 122"/>
                <a:gd name="T16" fmla="*/ 2147483646 w 447"/>
                <a:gd name="T17" fmla="*/ 2147483646 h 122"/>
                <a:gd name="T18" fmla="*/ 2147483646 w 447"/>
                <a:gd name="T19" fmla="*/ 2147483646 h 122"/>
                <a:gd name="T20" fmla="*/ 2147483646 w 447"/>
                <a:gd name="T21" fmla="*/ 2147483646 h 122"/>
                <a:gd name="T22" fmla="*/ 2147483646 w 447"/>
                <a:gd name="T23" fmla="*/ 2147483646 h 122"/>
                <a:gd name="T24" fmla="*/ 2147483646 w 447"/>
                <a:gd name="T25" fmla="*/ 2147483646 h 122"/>
                <a:gd name="T26" fmla="*/ 2147483646 w 447"/>
                <a:gd name="T27" fmla="*/ 2147483646 h 122"/>
                <a:gd name="T28" fmla="*/ 2147483646 w 447"/>
                <a:gd name="T29" fmla="*/ 2147483646 h 122"/>
                <a:gd name="T30" fmla="*/ 2147483646 w 447"/>
                <a:gd name="T31" fmla="*/ 2147483646 h 122"/>
                <a:gd name="T32" fmla="*/ 2147483646 w 447"/>
                <a:gd name="T33" fmla="*/ 2147483646 h 122"/>
                <a:gd name="T34" fmla="*/ 2147483646 w 447"/>
                <a:gd name="T35" fmla="*/ 2147483646 h 122"/>
                <a:gd name="T36" fmla="*/ 2147483646 w 447"/>
                <a:gd name="T37" fmla="*/ 2147483646 h 122"/>
                <a:gd name="T38" fmla="*/ 2147483646 w 447"/>
                <a:gd name="T39" fmla="*/ 2147483646 h 122"/>
                <a:gd name="T40" fmla="*/ 2147483646 w 447"/>
                <a:gd name="T41" fmla="*/ 2147483646 h 122"/>
                <a:gd name="T42" fmla="*/ 2147483646 w 447"/>
                <a:gd name="T43" fmla="*/ 2147483646 h 122"/>
                <a:gd name="T44" fmla="*/ 2147483646 w 447"/>
                <a:gd name="T45" fmla="*/ 2147483646 h 122"/>
                <a:gd name="T46" fmla="*/ 2147483646 w 447"/>
                <a:gd name="T47" fmla="*/ 2147483646 h 122"/>
                <a:gd name="T48" fmla="*/ 2147483646 w 447"/>
                <a:gd name="T49" fmla="*/ 2147483646 h 122"/>
                <a:gd name="T50" fmla="*/ 2147483646 w 447"/>
                <a:gd name="T51" fmla="*/ 2147483646 h 122"/>
                <a:gd name="T52" fmla="*/ 2147483646 w 447"/>
                <a:gd name="T53" fmla="*/ 2147483646 h 122"/>
                <a:gd name="T54" fmla="*/ 2147483646 w 447"/>
                <a:gd name="T55" fmla="*/ 2147483646 h 122"/>
                <a:gd name="T56" fmla="*/ 2147483646 w 447"/>
                <a:gd name="T57" fmla="*/ 2147483646 h 122"/>
                <a:gd name="T58" fmla="*/ 2147483646 w 447"/>
                <a:gd name="T59" fmla="*/ 2147483646 h 122"/>
                <a:gd name="T60" fmla="*/ 2147483646 w 447"/>
                <a:gd name="T61" fmla="*/ 2147483646 h 122"/>
                <a:gd name="T62" fmla="*/ 2147483646 w 447"/>
                <a:gd name="T63" fmla="*/ 2147483646 h 122"/>
                <a:gd name="T64" fmla="*/ 2147483646 w 447"/>
                <a:gd name="T65" fmla="*/ 2147483646 h 122"/>
                <a:gd name="T66" fmla="*/ 2147483646 w 447"/>
                <a:gd name="T67" fmla="*/ 2147483646 h 122"/>
                <a:gd name="T68" fmla="*/ 2147483646 w 447"/>
                <a:gd name="T69" fmla="*/ 2147483646 h 122"/>
                <a:gd name="T70" fmla="*/ 2147483646 w 447"/>
                <a:gd name="T71" fmla="*/ 2147483646 h 122"/>
                <a:gd name="T72" fmla="*/ 2147483646 w 447"/>
                <a:gd name="T73" fmla="*/ 2147483646 h 122"/>
                <a:gd name="T74" fmla="*/ 2147483646 w 447"/>
                <a:gd name="T75" fmla="*/ 2147483646 h 122"/>
                <a:gd name="T76" fmla="*/ 2147483646 w 447"/>
                <a:gd name="T77" fmla="*/ 2147483646 h 122"/>
                <a:gd name="T78" fmla="*/ 2147483646 w 447"/>
                <a:gd name="T79" fmla="*/ 2147483646 h 122"/>
                <a:gd name="T80" fmla="*/ 2147483646 w 447"/>
                <a:gd name="T81" fmla="*/ 2147483646 h 122"/>
                <a:gd name="T82" fmla="*/ 2147483646 w 447"/>
                <a:gd name="T83" fmla="*/ 2147483646 h 122"/>
                <a:gd name="T84" fmla="*/ 2147483646 w 447"/>
                <a:gd name="T85" fmla="*/ 2147483646 h 122"/>
                <a:gd name="T86" fmla="*/ 2147483646 w 447"/>
                <a:gd name="T87" fmla="*/ 2147483646 h 12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47" h="122">
                  <a:moveTo>
                    <a:pt x="102" y="87"/>
                  </a:moveTo>
                  <a:cubicBezTo>
                    <a:pt x="100" y="85"/>
                    <a:pt x="99" y="84"/>
                    <a:pt x="96" y="80"/>
                  </a:cubicBezTo>
                  <a:cubicBezTo>
                    <a:pt x="95" y="79"/>
                    <a:pt x="95" y="79"/>
                    <a:pt x="94" y="78"/>
                  </a:cubicBezTo>
                  <a:cubicBezTo>
                    <a:pt x="91" y="74"/>
                    <a:pt x="86" y="72"/>
                    <a:pt x="82" y="72"/>
                  </a:cubicBezTo>
                  <a:cubicBezTo>
                    <a:pt x="73" y="72"/>
                    <a:pt x="66" y="79"/>
                    <a:pt x="66" y="87"/>
                  </a:cubicBezTo>
                  <a:cubicBezTo>
                    <a:pt x="66" y="96"/>
                    <a:pt x="73" y="103"/>
                    <a:pt x="82" y="103"/>
                  </a:cubicBezTo>
                  <a:cubicBezTo>
                    <a:pt x="86" y="103"/>
                    <a:pt x="91" y="101"/>
                    <a:pt x="94" y="97"/>
                  </a:cubicBezTo>
                  <a:cubicBezTo>
                    <a:pt x="95" y="96"/>
                    <a:pt x="95" y="96"/>
                    <a:pt x="96" y="95"/>
                  </a:cubicBezTo>
                  <a:cubicBezTo>
                    <a:pt x="99" y="91"/>
                    <a:pt x="100" y="89"/>
                    <a:pt x="102" y="87"/>
                  </a:cubicBezTo>
                  <a:moveTo>
                    <a:pt x="46" y="87"/>
                  </a:moveTo>
                  <a:cubicBezTo>
                    <a:pt x="46" y="68"/>
                    <a:pt x="62" y="52"/>
                    <a:pt x="82" y="52"/>
                  </a:cubicBezTo>
                  <a:cubicBezTo>
                    <a:pt x="91" y="52"/>
                    <a:pt x="101" y="56"/>
                    <a:pt x="109" y="65"/>
                  </a:cubicBezTo>
                  <a:cubicBezTo>
                    <a:pt x="109" y="65"/>
                    <a:pt x="109" y="65"/>
                    <a:pt x="109" y="65"/>
                  </a:cubicBezTo>
                  <a:cubicBezTo>
                    <a:pt x="109" y="65"/>
                    <a:pt x="109" y="65"/>
                    <a:pt x="109" y="65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0" y="120"/>
                    <a:pt x="0" y="120"/>
                    <a:pt x="0" y="120"/>
                  </a:cubicBezTo>
                  <a:cubicBezTo>
                    <a:pt x="69" y="120"/>
                    <a:pt x="69" y="120"/>
                    <a:pt x="69" y="120"/>
                  </a:cubicBezTo>
                  <a:cubicBezTo>
                    <a:pt x="69" y="120"/>
                    <a:pt x="69" y="120"/>
                    <a:pt x="69" y="120"/>
                  </a:cubicBezTo>
                  <a:cubicBezTo>
                    <a:pt x="66" y="119"/>
                    <a:pt x="63" y="117"/>
                    <a:pt x="63" y="117"/>
                  </a:cubicBezTo>
                  <a:cubicBezTo>
                    <a:pt x="53" y="111"/>
                    <a:pt x="46" y="100"/>
                    <a:pt x="46" y="87"/>
                  </a:cubicBezTo>
                  <a:moveTo>
                    <a:pt x="133" y="118"/>
                  </a:moveTo>
                  <a:cubicBezTo>
                    <a:pt x="126" y="115"/>
                    <a:pt x="120" y="109"/>
                    <a:pt x="114" y="103"/>
                  </a:cubicBezTo>
                  <a:cubicBezTo>
                    <a:pt x="114" y="103"/>
                    <a:pt x="111" y="108"/>
                    <a:pt x="107" y="111"/>
                  </a:cubicBezTo>
                  <a:cubicBezTo>
                    <a:pt x="102" y="117"/>
                    <a:pt x="97" y="119"/>
                    <a:pt x="94" y="120"/>
                  </a:cubicBezTo>
                  <a:cubicBezTo>
                    <a:pt x="94" y="120"/>
                    <a:pt x="94" y="120"/>
                    <a:pt x="94" y="120"/>
                  </a:cubicBezTo>
                  <a:cubicBezTo>
                    <a:pt x="142" y="120"/>
                    <a:pt x="142" y="120"/>
                    <a:pt x="142" y="120"/>
                  </a:cubicBezTo>
                  <a:cubicBezTo>
                    <a:pt x="142" y="120"/>
                    <a:pt x="142" y="120"/>
                    <a:pt x="142" y="120"/>
                  </a:cubicBezTo>
                  <a:cubicBezTo>
                    <a:pt x="142" y="120"/>
                    <a:pt x="141" y="120"/>
                    <a:pt x="140" y="120"/>
                  </a:cubicBezTo>
                  <a:cubicBezTo>
                    <a:pt x="137" y="119"/>
                    <a:pt x="134" y="118"/>
                    <a:pt x="133" y="118"/>
                  </a:cubicBezTo>
                  <a:moveTo>
                    <a:pt x="231" y="69"/>
                  </a:moveTo>
                  <a:cubicBezTo>
                    <a:pt x="209" y="63"/>
                    <a:pt x="205" y="62"/>
                    <a:pt x="205" y="55"/>
                  </a:cubicBezTo>
                  <a:cubicBezTo>
                    <a:pt x="205" y="48"/>
                    <a:pt x="212" y="46"/>
                    <a:pt x="218" y="46"/>
                  </a:cubicBezTo>
                  <a:cubicBezTo>
                    <a:pt x="228" y="46"/>
                    <a:pt x="235" y="48"/>
                    <a:pt x="236" y="59"/>
                  </a:cubicBezTo>
                  <a:cubicBezTo>
                    <a:pt x="254" y="59"/>
                    <a:pt x="254" y="59"/>
                    <a:pt x="254" y="59"/>
                  </a:cubicBezTo>
                  <a:cubicBezTo>
                    <a:pt x="254" y="39"/>
                    <a:pt x="238" y="31"/>
                    <a:pt x="219" y="31"/>
                  </a:cubicBezTo>
                  <a:cubicBezTo>
                    <a:pt x="204" y="31"/>
                    <a:pt x="187" y="39"/>
                    <a:pt x="187" y="57"/>
                  </a:cubicBezTo>
                  <a:cubicBezTo>
                    <a:pt x="187" y="73"/>
                    <a:pt x="200" y="78"/>
                    <a:pt x="213" y="82"/>
                  </a:cubicBezTo>
                  <a:cubicBezTo>
                    <a:pt x="226" y="85"/>
                    <a:pt x="239" y="87"/>
                    <a:pt x="239" y="96"/>
                  </a:cubicBezTo>
                  <a:cubicBezTo>
                    <a:pt x="239" y="105"/>
                    <a:pt x="228" y="107"/>
                    <a:pt x="222" y="107"/>
                  </a:cubicBezTo>
                  <a:cubicBezTo>
                    <a:pt x="211" y="107"/>
                    <a:pt x="202" y="103"/>
                    <a:pt x="202" y="91"/>
                  </a:cubicBezTo>
                  <a:cubicBezTo>
                    <a:pt x="184" y="91"/>
                    <a:pt x="184" y="91"/>
                    <a:pt x="184" y="91"/>
                  </a:cubicBezTo>
                  <a:cubicBezTo>
                    <a:pt x="183" y="113"/>
                    <a:pt x="202" y="122"/>
                    <a:pt x="221" y="122"/>
                  </a:cubicBezTo>
                  <a:cubicBezTo>
                    <a:pt x="245" y="122"/>
                    <a:pt x="257" y="110"/>
                    <a:pt x="257" y="94"/>
                  </a:cubicBezTo>
                  <a:cubicBezTo>
                    <a:pt x="257" y="74"/>
                    <a:pt x="238" y="70"/>
                    <a:pt x="231" y="69"/>
                  </a:cubicBezTo>
                  <a:moveTo>
                    <a:pt x="336" y="64"/>
                  </a:moveTo>
                  <a:cubicBezTo>
                    <a:pt x="335" y="64"/>
                    <a:pt x="335" y="64"/>
                    <a:pt x="335" y="64"/>
                  </a:cubicBezTo>
                  <a:cubicBezTo>
                    <a:pt x="331" y="58"/>
                    <a:pt x="324" y="55"/>
                    <a:pt x="317" y="55"/>
                  </a:cubicBezTo>
                  <a:cubicBezTo>
                    <a:pt x="298" y="55"/>
                    <a:pt x="288" y="71"/>
                    <a:pt x="288" y="88"/>
                  </a:cubicBezTo>
                  <a:cubicBezTo>
                    <a:pt x="288" y="105"/>
                    <a:pt x="298" y="122"/>
                    <a:pt x="317" y="122"/>
                  </a:cubicBezTo>
                  <a:cubicBezTo>
                    <a:pt x="325" y="122"/>
                    <a:pt x="332" y="119"/>
                    <a:pt x="336" y="112"/>
                  </a:cubicBezTo>
                  <a:cubicBezTo>
                    <a:pt x="336" y="112"/>
                    <a:pt x="336" y="112"/>
                    <a:pt x="336" y="112"/>
                  </a:cubicBezTo>
                  <a:cubicBezTo>
                    <a:pt x="336" y="120"/>
                    <a:pt x="336" y="120"/>
                    <a:pt x="336" y="120"/>
                  </a:cubicBezTo>
                  <a:cubicBezTo>
                    <a:pt x="353" y="120"/>
                    <a:pt x="353" y="120"/>
                    <a:pt x="353" y="120"/>
                  </a:cubicBezTo>
                  <a:cubicBezTo>
                    <a:pt x="353" y="33"/>
                    <a:pt x="353" y="33"/>
                    <a:pt x="353" y="33"/>
                  </a:cubicBezTo>
                  <a:cubicBezTo>
                    <a:pt x="336" y="33"/>
                    <a:pt x="336" y="33"/>
                    <a:pt x="336" y="33"/>
                  </a:cubicBezTo>
                  <a:lnTo>
                    <a:pt x="336" y="64"/>
                  </a:lnTo>
                  <a:close/>
                  <a:moveTo>
                    <a:pt x="321" y="109"/>
                  </a:moveTo>
                  <a:cubicBezTo>
                    <a:pt x="310" y="109"/>
                    <a:pt x="306" y="98"/>
                    <a:pt x="306" y="88"/>
                  </a:cubicBezTo>
                  <a:cubicBezTo>
                    <a:pt x="306" y="78"/>
                    <a:pt x="310" y="68"/>
                    <a:pt x="321" y="68"/>
                  </a:cubicBezTo>
                  <a:cubicBezTo>
                    <a:pt x="332" y="68"/>
                    <a:pt x="336" y="78"/>
                    <a:pt x="336" y="88"/>
                  </a:cubicBezTo>
                  <a:cubicBezTo>
                    <a:pt x="336" y="99"/>
                    <a:pt x="333" y="109"/>
                    <a:pt x="321" y="109"/>
                  </a:cubicBezTo>
                  <a:moveTo>
                    <a:pt x="392" y="55"/>
                  </a:moveTo>
                  <a:cubicBezTo>
                    <a:pt x="372" y="55"/>
                    <a:pt x="359" y="70"/>
                    <a:pt x="359" y="89"/>
                  </a:cubicBezTo>
                  <a:cubicBezTo>
                    <a:pt x="359" y="108"/>
                    <a:pt x="372" y="122"/>
                    <a:pt x="392" y="122"/>
                  </a:cubicBezTo>
                  <a:cubicBezTo>
                    <a:pt x="406" y="122"/>
                    <a:pt x="416" y="115"/>
                    <a:pt x="421" y="101"/>
                  </a:cubicBezTo>
                  <a:cubicBezTo>
                    <a:pt x="406" y="101"/>
                    <a:pt x="406" y="101"/>
                    <a:pt x="406" y="101"/>
                  </a:cubicBezTo>
                  <a:cubicBezTo>
                    <a:pt x="405" y="104"/>
                    <a:pt x="399" y="109"/>
                    <a:pt x="392" y="109"/>
                  </a:cubicBezTo>
                  <a:cubicBezTo>
                    <a:pt x="383" y="109"/>
                    <a:pt x="377" y="104"/>
                    <a:pt x="377" y="93"/>
                  </a:cubicBezTo>
                  <a:cubicBezTo>
                    <a:pt x="422" y="93"/>
                    <a:pt x="422" y="93"/>
                    <a:pt x="422" y="93"/>
                  </a:cubicBezTo>
                  <a:cubicBezTo>
                    <a:pt x="424" y="73"/>
                    <a:pt x="413" y="55"/>
                    <a:pt x="392" y="55"/>
                  </a:cubicBezTo>
                  <a:moveTo>
                    <a:pt x="377" y="82"/>
                  </a:moveTo>
                  <a:cubicBezTo>
                    <a:pt x="377" y="77"/>
                    <a:pt x="380" y="68"/>
                    <a:pt x="391" y="68"/>
                  </a:cubicBezTo>
                  <a:cubicBezTo>
                    <a:pt x="400" y="68"/>
                    <a:pt x="403" y="73"/>
                    <a:pt x="405" y="82"/>
                  </a:cubicBezTo>
                  <a:lnTo>
                    <a:pt x="377" y="82"/>
                  </a:lnTo>
                  <a:close/>
                  <a:moveTo>
                    <a:pt x="430" y="120"/>
                  </a:moveTo>
                  <a:cubicBezTo>
                    <a:pt x="447" y="120"/>
                    <a:pt x="447" y="120"/>
                    <a:pt x="447" y="120"/>
                  </a:cubicBezTo>
                  <a:cubicBezTo>
                    <a:pt x="447" y="33"/>
                    <a:pt x="447" y="33"/>
                    <a:pt x="447" y="33"/>
                  </a:cubicBezTo>
                  <a:cubicBezTo>
                    <a:pt x="430" y="33"/>
                    <a:pt x="430" y="33"/>
                    <a:pt x="430" y="33"/>
                  </a:cubicBezTo>
                  <a:lnTo>
                    <a:pt x="430" y="120"/>
                  </a:lnTo>
                  <a:close/>
                  <a:moveTo>
                    <a:pt x="264" y="47"/>
                  </a:moveTo>
                  <a:cubicBezTo>
                    <a:pt x="281" y="47"/>
                    <a:pt x="281" y="47"/>
                    <a:pt x="281" y="47"/>
                  </a:cubicBezTo>
                  <a:cubicBezTo>
                    <a:pt x="281" y="33"/>
                    <a:pt x="281" y="33"/>
                    <a:pt x="281" y="33"/>
                  </a:cubicBezTo>
                  <a:cubicBezTo>
                    <a:pt x="264" y="33"/>
                    <a:pt x="264" y="33"/>
                    <a:pt x="264" y="33"/>
                  </a:cubicBezTo>
                  <a:lnTo>
                    <a:pt x="264" y="47"/>
                  </a:lnTo>
                  <a:close/>
                  <a:moveTo>
                    <a:pt x="264" y="120"/>
                  </a:moveTo>
                  <a:cubicBezTo>
                    <a:pt x="281" y="120"/>
                    <a:pt x="281" y="120"/>
                    <a:pt x="281" y="120"/>
                  </a:cubicBezTo>
                  <a:cubicBezTo>
                    <a:pt x="281" y="57"/>
                    <a:pt x="281" y="57"/>
                    <a:pt x="281" y="57"/>
                  </a:cubicBezTo>
                  <a:cubicBezTo>
                    <a:pt x="264" y="57"/>
                    <a:pt x="264" y="57"/>
                    <a:pt x="264" y="57"/>
                  </a:cubicBezTo>
                  <a:lnTo>
                    <a:pt x="264" y="12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it-IT"/>
            </a:p>
          </p:txBody>
        </p:sp>
      </p:grpSp>
      <p:sp>
        <p:nvSpPr>
          <p:cNvPr id="15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647703" y="2507780"/>
            <a:ext cx="7993063" cy="1231106"/>
          </a:xfrm>
          <a:prstGeom prst="rect">
            <a:avLst/>
          </a:prstGeom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it-IT" noProof="1"/>
              <a:t>Fare clic per modificare lo stile del titolo dello schema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47703" y="3856270"/>
            <a:ext cx="7993063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it-IT"/>
              <a:t>Fare clic per modificare lo stile del sottotitolo dello schem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266306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95" hidden="1">
            <a:extLst>
              <a:ext uri="{FF2B5EF4-FFF2-40B4-BE49-F238E27FC236}">
                <a16:creationId xmlns:a16="http://schemas.microsoft.com/office/drawing/2014/main" id="{62A7A58F-7C2B-46C0-AE55-6DD8043D8C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3" y="1591"/>
          <a:ext cx="238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75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5122" name="Objekt 95" hidden="1">
                        <a:extLst>
                          <a:ext uri="{FF2B5EF4-FFF2-40B4-BE49-F238E27FC236}">
                            <a16:creationId xmlns:a16="http://schemas.microsoft.com/office/drawing/2014/main" id="{46333DD0-5169-4A4A-8E46-C071AB870AD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3" y="1591"/>
                        <a:ext cx="2381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magine 10" descr="RetroMKTGstatement16x9new.jpg">
            <a:extLst>
              <a:ext uri="{FF2B5EF4-FFF2-40B4-BE49-F238E27FC236}">
                <a16:creationId xmlns:a16="http://schemas.microsoft.com/office/drawing/2014/main" id="{EDB90A96-3107-4C05-981A-3427F4EA315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76" y="0"/>
            <a:ext cx="911542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17864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kt 84" hidden="1">
            <a:extLst>
              <a:ext uri="{FF2B5EF4-FFF2-40B4-BE49-F238E27FC236}">
                <a16:creationId xmlns:a16="http://schemas.microsoft.com/office/drawing/2014/main" id="{13C13B57-4297-46D6-BE6A-C353A4B7EADD}"/>
              </a:ext>
            </a:extLst>
          </p:cNvPr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193" y="1591"/>
          <a:ext cx="238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1" name="think-cell Folie" r:id="rId11" imgW="360" imgH="360" progId="TCLayout.ActiveDocument.1">
                  <p:embed/>
                </p:oleObj>
              </mc:Choice>
              <mc:Fallback>
                <p:oleObj name="think-cell Folie" r:id="rId11" imgW="360" imgH="360" progId="TCLayout.ActiveDocument.1">
                  <p:embed/>
                  <p:pic>
                    <p:nvPicPr>
                      <p:cNvPr id="0" name="Objekt 8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3" y="1591"/>
                        <a:ext cx="2381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itelplatzhalter 1">
            <a:extLst>
              <a:ext uri="{FF2B5EF4-FFF2-40B4-BE49-F238E27FC236}">
                <a16:creationId xmlns:a16="http://schemas.microsoft.com/office/drawing/2014/main" id="{44D3E099-2BC1-4202-A244-D63685477DDE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647702" y="334965"/>
            <a:ext cx="7995047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it-IT" altLang="it-IT" noProof="1"/>
              <a:t>Titelmasterformat durch Klicken bearbeiten</a:t>
            </a:r>
            <a:endParaRPr lang="en-GB" altLang="it-IT"/>
          </a:p>
        </p:txBody>
      </p:sp>
      <p:sp>
        <p:nvSpPr>
          <p:cNvPr id="1028" name="Textplatzhalter 2">
            <a:extLst>
              <a:ext uri="{FF2B5EF4-FFF2-40B4-BE49-F238E27FC236}">
                <a16:creationId xmlns:a16="http://schemas.microsoft.com/office/drawing/2014/main" id="{ED70B675-B82D-4D43-9942-3AC241118C99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647700" y="1485903"/>
            <a:ext cx="7992666" cy="449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altLang="it-IT" noProof="1"/>
              <a:t>Click to edit text style</a:t>
            </a:r>
          </a:p>
          <a:p>
            <a:pPr lvl="1"/>
            <a:r>
              <a:rPr lang="en-GB" altLang="it-IT"/>
              <a:t>Second level</a:t>
            </a:r>
          </a:p>
          <a:p>
            <a:pPr lvl="2"/>
            <a:r>
              <a:rPr lang="en-GB" altLang="it-IT"/>
              <a:t>Third level</a:t>
            </a:r>
          </a:p>
          <a:p>
            <a:pPr lvl="3"/>
            <a:r>
              <a:rPr lang="en-GB" altLang="it-IT"/>
              <a:t>Forth level</a:t>
            </a:r>
          </a:p>
          <a:p>
            <a:pPr lvl="4"/>
            <a:r>
              <a:rPr lang="en-GB" altLang="it-IT"/>
              <a:t>Fifth level</a:t>
            </a:r>
          </a:p>
        </p:txBody>
      </p:sp>
      <p:sp>
        <p:nvSpPr>
          <p:cNvPr id="86" name="Footer Placeholder 3">
            <a:extLst>
              <a:ext uri="{FF2B5EF4-FFF2-40B4-BE49-F238E27FC236}">
                <a16:creationId xmlns:a16="http://schemas.microsoft.com/office/drawing/2014/main" id="{24C7DC9F-4C08-4EF4-A291-8A42E8E67039}"/>
              </a:ext>
            </a:extLst>
          </p:cNvPr>
          <p:cNvSpPr txBox="1">
            <a:spLocks/>
          </p:cNvSpPr>
          <p:nvPr/>
        </p:nvSpPr>
        <p:spPr>
          <a:xfrm>
            <a:off x="1378744" y="6471854"/>
            <a:ext cx="350095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dirty="0">
                <a:solidFill>
                  <a:schemeClr val="bg2"/>
                </a:solidFill>
              </a:rPr>
              <a:t>Title, </a:t>
            </a:r>
            <a:fld id="{AF6A7A01-F0BB-4441-BAB9-3E7CB064C4A1}" type="datetime4">
              <a:rPr lang="en-GB" sz="900" smtClean="0">
                <a:solidFill>
                  <a:schemeClr val="bg2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05 November 2020</a:t>
            </a:fld>
            <a:r>
              <a:rPr lang="en-GB" sz="900" dirty="0"/>
              <a:t> </a:t>
            </a:r>
            <a:r>
              <a:rPr lang="en-GB" sz="900" dirty="0">
                <a:solidFill>
                  <a:schemeClr val="accent5"/>
                </a:solidFill>
              </a:rPr>
              <a:t>[</a:t>
            </a:r>
            <a:r>
              <a:rPr lang="en-US" sz="900" dirty="0">
                <a:solidFill>
                  <a:schemeClr val="accent5"/>
                </a:solidFill>
              </a:rPr>
              <a:t>Public / Internal / Restricted / Highly confidential]</a:t>
            </a:r>
            <a:endParaRPr lang="en-GB" sz="900" dirty="0">
              <a:solidFill>
                <a:schemeClr val="bg2"/>
              </a:solidFill>
            </a:endParaRPr>
          </a:p>
        </p:txBody>
      </p:sp>
      <p:sp>
        <p:nvSpPr>
          <p:cNvPr id="87" name="Slide Number Placeholder 4">
            <a:extLst>
              <a:ext uri="{FF2B5EF4-FFF2-40B4-BE49-F238E27FC236}">
                <a16:creationId xmlns:a16="http://schemas.microsoft.com/office/drawing/2014/main" id="{8C1A9467-0943-43AA-B6A1-3E16CF866444}"/>
              </a:ext>
            </a:extLst>
          </p:cNvPr>
          <p:cNvSpPr txBox="1">
            <a:spLocks/>
          </p:cNvSpPr>
          <p:nvPr/>
        </p:nvSpPr>
        <p:spPr>
          <a:xfrm>
            <a:off x="647701" y="6471854"/>
            <a:ext cx="461665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dirty="0">
                <a:solidFill>
                  <a:schemeClr val="bg2"/>
                </a:solidFill>
              </a:rPr>
              <a:t>Page </a:t>
            </a:r>
            <a:fld id="{F0BECDF1-AF6D-408E-8FE7-ABFC07EAFA65}" type="slidenum">
              <a:rPr lang="en-GB" sz="900" smtClean="0">
                <a:solidFill>
                  <a:schemeClr val="bg2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A59DB4AC-7344-4C04-8C67-FA7060886ACB}"/>
              </a:ext>
            </a:extLst>
          </p:cNvPr>
          <p:cNvCxnSpPr/>
          <p:nvPr/>
        </p:nvCxnSpPr>
        <p:spPr>
          <a:xfrm>
            <a:off x="647700" y="6381750"/>
            <a:ext cx="7992666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32" name="Immagine 15" descr="SidelLogoRGB.png">
            <a:extLst>
              <a:ext uri="{FF2B5EF4-FFF2-40B4-BE49-F238E27FC236}">
                <a16:creationId xmlns:a16="http://schemas.microsoft.com/office/drawing/2014/main" id="{133815B4-6C3D-4D28-BB89-71C7CCFD7FE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5517" y="6483353"/>
            <a:ext cx="703659" cy="25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3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07A0E173-084A-4549-9285-A41C8264A4F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240679" y="6624578"/>
            <a:ext cx="662642" cy="23342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 anchorCtr="1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it-IT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</a:p>
        </p:txBody>
      </p:sp>
    </p:spTree>
    <p:custDataLst>
      <p:tags r:id="rId9"/>
    </p:custDataLst>
  </p:cSld>
  <p:clrMap bg1="dk1" tx1="lt1" bg2="dk2" tx2="lt2" accent1="accent1" accent2="accent2" accent3="accent3" accent4="accent4" accent5="accent5" accent6="accent6" hlink="hlink" folHlink="folHlink"/>
  <p:sldLayoutIdLst>
    <p:sldLayoutId id="2147483769" r:id="rId1"/>
    <p:sldLayoutId id="2147483770" r:id="rId2"/>
    <p:sldLayoutId id="2147483767" r:id="rId3"/>
    <p:sldLayoutId id="2147483768" r:id="rId4"/>
    <p:sldLayoutId id="2147483771" r:id="rId5"/>
    <p:sldLayoutId id="2147483772" r:id="rId6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 kern="1200">
          <a:solidFill>
            <a:srgbClr val="E64B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5pPr>
      <a:lvl6pPr marL="457189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6pPr>
      <a:lvl7pPr marL="914377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7pPr>
      <a:lvl8pPr marL="1371566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8pPr>
      <a:lvl9pPr marL="1828754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9pPr>
    </p:titleStyle>
    <p:bodyStyle>
      <a:lvl1pPr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177796" indent="-177796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79" indent="-179384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75" indent="-177796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57" indent="-179384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.jpeg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8.JP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hteck 3"/>
          <p:cNvSpPr/>
          <p:nvPr/>
        </p:nvSpPr>
        <p:spPr bwMode="auto">
          <a:xfrm>
            <a:off x="649288" y="1640717"/>
            <a:ext cx="3889375" cy="376238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FF6600"/>
              </a:buClr>
              <a:buSzTx/>
              <a:buFontTx/>
              <a:buNone/>
              <a:tabLst/>
              <a:defRPr/>
            </a:pPr>
            <a:r>
              <a:rPr kumimoji="0" lang="de-DE" sz="1400" b="1" i="0" u="none" strike="noStrike" cap="none" normalizeH="0" baseline="0" noProof="0">
                <a:ln>
                  <a:noFill/>
                </a:ln>
                <a:solidFill>
                  <a:srgbClr val="FFFFFF"/>
                </a:solidFill>
                <a:uLnTx/>
                <a:uFillTx/>
                <a:latin typeface="Arial"/>
                <a:ea typeface="MS PGothic" pitchFamily="34" charset="-128"/>
                <a:cs typeface="+mn-cs"/>
              </a:rPr>
              <a:t>NUTZEN UND VORTEILE</a:t>
            </a:r>
          </a:p>
        </p:txBody>
      </p:sp>
      <p:sp>
        <p:nvSpPr>
          <p:cNvPr id="22" name="Rechteck 4"/>
          <p:cNvSpPr>
            <a:spLocks/>
          </p:cNvSpPr>
          <p:nvPr/>
        </p:nvSpPr>
        <p:spPr bwMode="auto">
          <a:xfrm>
            <a:off x="649288" y="2016954"/>
            <a:ext cx="3889375" cy="378953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/>
          <a:lstStyle/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endParaRPr kumimoji="0" lang="en-US" altLang="fr-FR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Rechteck 11"/>
          <p:cNvSpPr/>
          <p:nvPr/>
        </p:nvSpPr>
        <p:spPr bwMode="auto">
          <a:xfrm>
            <a:off x="4751388" y="1640716"/>
            <a:ext cx="3889375" cy="38893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190500" marR="0" lvl="0" indent="-1905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de-DE" sz="1400" b="1" i="0" u="none" strike="noStrike" cap="none" normalizeH="0" baseline="0" noProof="1">
                <a:ln>
                  <a:noFill/>
                </a:ln>
                <a:solidFill>
                  <a:srgbClr val="FFFFFF"/>
                </a:solidFill>
                <a:uLnTx/>
                <a:uFillTx/>
                <a:latin typeface="Arial" charset="0"/>
                <a:ea typeface="+mn-ea"/>
                <a:cs typeface="Arial" charset="0"/>
              </a:rPr>
              <a:t>BESCHREIBUNG</a:t>
            </a:r>
          </a:p>
        </p:txBody>
      </p:sp>
      <p:sp>
        <p:nvSpPr>
          <p:cNvPr id="24" name="Rechteck 12"/>
          <p:cNvSpPr>
            <a:spLocks/>
          </p:cNvSpPr>
          <p:nvPr/>
        </p:nvSpPr>
        <p:spPr bwMode="auto">
          <a:xfrm>
            <a:off x="4751388" y="2008327"/>
            <a:ext cx="3889375" cy="3798162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/>
          <a:lstStyle/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宋体" charset="-122"/>
              <a:cs typeface="+mn-cs"/>
            </a:endParaRPr>
          </a:p>
        </p:txBody>
      </p: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9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de-DE" dirty="0"/>
              <a:t>Vorbeugen von Lieferengpässen bei Ersatzteilen</a:t>
            </a:r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332740"/>
            <a:ext cx="7997825" cy="307975"/>
          </a:xfrm>
        </p:spPr>
        <p:txBody>
          <a:bodyPr/>
          <a:lstStyle/>
          <a:p>
            <a:r>
              <a:rPr lang="de-DE" dirty="0"/>
              <a:t>E + H Durchflussmesser</a:t>
            </a:r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68447" y="5901302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de-DE" sz="800" dirty="0">
                <a:solidFill>
                  <a:srgbClr val="000000"/>
                </a:solidFill>
              </a:rPr>
              <a:t>Nutzen: Obsoleszenz</a:t>
            </a:r>
          </a:p>
          <a:p>
            <a:pPr>
              <a:defRPr/>
            </a:pPr>
            <a:r>
              <a:rPr lang="de-DE" sz="800" dirty="0">
                <a:solidFill>
                  <a:srgbClr val="000000"/>
                </a:solidFill>
              </a:rPr>
              <a:t>Ausstattung: SAE, SAG, SAF, SAM, Mixer and </a:t>
            </a:r>
            <a:r>
              <a:rPr lang="de-DE" sz="800" dirty="0" err="1">
                <a:solidFill>
                  <a:srgbClr val="000000"/>
                </a:solidFill>
              </a:rPr>
              <a:t>Carbo</a:t>
            </a:r>
            <a:endParaRPr lang="de-DE" sz="800" dirty="0">
              <a:solidFill>
                <a:srgbClr val="000000"/>
              </a:solidFill>
            </a:endParaRPr>
          </a:p>
          <a:p>
            <a:pPr>
              <a:defRPr/>
            </a:pPr>
            <a:r>
              <a:rPr lang="de-DE" sz="800" dirty="0">
                <a:solidFill>
                  <a:srgbClr val="000000"/>
                </a:solidFill>
              </a:rPr>
              <a:t>Katalog-Code: OCM001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68447" y="2016953"/>
            <a:ext cx="3866263" cy="32747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6922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de-DE" sz="1100" b="1" dirty="0"/>
              <a:t>Sicherere Lösung mit neustem Bauteil von Sidel.</a:t>
            </a:r>
          </a:p>
          <a:p>
            <a:pPr marL="136922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de-DE" sz="1100" b="1" dirty="0">
                <a:solidFill>
                  <a:srgbClr val="E64B00"/>
                </a:solidFill>
              </a:rPr>
              <a:t>Kann lange </a:t>
            </a:r>
            <a:r>
              <a:rPr lang="de-DE" sz="1100" b="1" dirty="0" err="1">
                <a:solidFill>
                  <a:srgbClr val="E64B00"/>
                </a:solidFill>
              </a:rPr>
              <a:t>Stillstandszeiten</a:t>
            </a:r>
            <a:r>
              <a:rPr lang="de-DE" sz="1100" b="1" dirty="0">
                <a:solidFill>
                  <a:srgbClr val="E64B00"/>
                </a:solidFill>
              </a:rPr>
              <a:t> bei Ausfall vermeiden</a:t>
            </a:r>
          </a:p>
          <a:p>
            <a:pPr marL="479822" lvl="1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de-DE" sz="1100" dirty="0">
                <a:solidFill>
                  <a:srgbClr val="000000"/>
                </a:solidFill>
              </a:rPr>
              <a:t>Die E + H </a:t>
            </a:r>
            <a:r>
              <a:rPr lang="de-DE" sz="1100" dirty="0" err="1">
                <a:solidFill>
                  <a:srgbClr val="000000"/>
                </a:solidFill>
              </a:rPr>
              <a:t>Promass</a:t>
            </a:r>
            <a:r>
              <a:rPr lang="de-DE" sz="1100" dirty="0">
                <a:solidFill>
                  <a:srgbClr val="000000"/>
                </a:solidFill>
              </a:rPr>
              <a:t> 83 / 63F- und </a:t>
            </a:r>
            <a:r>
              <a:rPr lang="de-DE" sz="1100" dirty="0" err="1">
                <a:solidFill>
                  <a:srgbClr val="000000"/>
                </a:solidFill>
              </a:rPr>
              <a:t>Promag</a:t>
            </a:r>
            <a:r>
              <a:rPr lang="de-DE" sz="1100" dirty="0">
                <a:solidFill>
                  <a:srgbClr val="000000"/>
                </a:solidFill>
              </a:rPr>
              <a:t> 50H / 53H-Familien, die in mehreren Mischern installiert sind, und die </a:t>
            </a:r>
            <a:r>
              <a:rPr lang="de-DE" sz="1100" dirty="0" err="1">
                <a:solidFill>
                  <a:srgbClr val="000000"/>
                </a:solidFill>
              </a:rPr>
              <a:t>Carbo</a:t>
            </a:r>
            <a:r>
              <a:rPr lang="de-DE" sz="1100" dirty="0">
                <a:solidFill>
                  <a:srgbClr val="000000"/>
                </a:solidFill>
              </a:rPr>
              <a:t>-Produktion werden vom Hersteller gestoppt.</a:t>
            </a:r>
          </a:p>
          <a:p>
            <a:pPr marL="479822" lvl="1" indent="-136922"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de-DE" sz="1100" dirty="0">
                <a:solidFill>
                  <a:srgbClr val="000000"/>
                </a:solidFill>
              </a:rPr>
              <a:t>Gefahr bevorstehender Nichtverfügbarkeit von Ersatzteilen.</a:t>
            </a:r>
          </a:p>
          <a:p>
            <a:pPr marL="479822" lvl="1" indent="-136922"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de-DE" sz="1100" dirty="0">
                <a:solidFill>
                  <a:srgbClr val="000000"/>
                </a:solidFill>
              </a:rPr>
              <a:t>Gefahr langer </a:t>
            </a:r>
            <a:r>
              <a:rPr lang="de-DE" sz="1100" dirty="0" err="1">
                <a:solidFill>
                  <a:srgbClr val="000000"/>
                </a:solidFill>
              </a:rPr>
              <a:t>Stillstandszeiten</a:t>
            </a:r>
            <a:r>
              <a:rPr lang="de-DE" sz="1100" dirty="0">
                <a:solidFill>
                  <a:srgbClr val="000000"/>
                </a:solidFill>
              </a:rPr>
              <a:t> der Anlage in den Abfüllbetrieben.</a:t>
            </a:r>
          </a:p>
          <a:p>
            <a:pPr marL="136922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de-DE" sz="1100" b="1" dirty="0">
                <a:solidFill>
                  <a:srgbClr val="E64B00"/>
                </a:solidFill>
              </a:rPr>
              <a:t>Kommunikationsfunktionen: </a:t>
            </a:r>
            <a:r>
              <a:rPr lang="de-DE" sz="1100" dirty="0">
                <a:solidFill>
                  <a:srgbClr val="000000"/>
                </a:solidFill>
              </a:rPr>
              <a:t>HART, drahtloses HART, </a:t>
            </a:r>
            <a:r>
              <a:rPr lang="de-DE" sz="1100" dirty="0" err="1">
                <a:solidFill>
                  <a:srgbClr val="000000"/>
                </a:solidFill>
              </a:rPr>
              <a:t>Profibus</a:t>
            </a:r>
            <a:r>
              <a:rPr lang="de-DE" sz="1100" dirty="0">
                <a:solidFill>
                  <a:srgbClr val="000000"/>
                </a:solidFill>
              </a:rPr>
              <a:t> PA / DP, </a:t>
            </a:r>
            <a:r>
              <a:rPr lang="de-DE" sz="1100" dirty="0" err="1">
                <a:solidFill>
                  <a:srgbClr val="000000"/>
                </a:solidFill>
              </a:rPr>
              <a:t>Foundation</a:t>
            </a:r>
            <a:r>
              <a:rPr lang="de-DE" sz="1100" dirty="0">
                <a:solidFill>
                  <a:srgbClr val="000000"/>
                </a:solidFill>
              </a:rPr>
              <a:t> Fields, Modbus RS485, Ethernet IP, </a:t>
            </a:r>
            <a:r>
              <a:rPr lang="de-DE" sz="1100" dirty="0" err="1">
                <a:solidFill>
                  <a:srgbClr val="000000"/>
                </a:solidFill>
              </a:rPr>
              <a:t>Profinet</a:t>
            </a:r>
            <a:r>
              <a:rPr lang="de-DE" sz="1100" dirty="0">
                <a:solidFill>
                  <a:srgbClr val="000000"/>
                </a:solidFill>
              </a:rPr>
              <a:t>) E / A.</a:t>
            </a:r>
            <a:endParaRPr lang="de-DE" sz="1100" b="1" dirty="0">
              <a:solidFill>
                <a:srgbClr val="E64B00"/>
              </a:solidFill>
            </a:endParaRPr>
          </a:p>
          <a:p>
            <a:pPr marL="136922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de-DE" sz="1100" b="1" dirty="0">
                <a:solidFill>
                  <a:srgbClr val="E64B00"/>
                </a:solidFill>
              </a:rPr>
              <a:t>Zusätzliche Merkmale: </a:t>
            </a:r>
            <a:r>
              <a:rPr lang="de-DE" sz="1100" dirty="0">
                <a:solidFill>
                  <a:srgbClr val="000000"/>
                </a:solidFill>
              </a:rPr>
              <a:t>ISO / IEC 17025-Kalibrierung, Archivierung von Fehlermeldungen bis zu 1000 in Logbüchern, Diagnoseabdeckung&gt; 95%, Schutzart IP 66/67 mit </a:t>
            </a:r>
            <a:r>
              <a:rPr lang="de-DE" sz="1100" dirty="0" err="1">
                <a:solidFill>
                  <a:srgbClr val="000000"/>
                </a:solidFill>
              </a:rPr>
              <a:t>Boxtyp</a:t>
            </a:r>
            <a:r>
              <a:rPr lang="de-DE" sz="1100" dirty="0">
                <a:solidFill>
                  <a:srgbClr val="000000"/>
                </a:solidFill>
              </a:rPr>
              <a:t> 4X, Option: IP69K Edelstahl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51388" y="2078404"/>
            <a:ext cx="3910143" cy="13285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6922" lvl="1" indent="-136922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de-DE" sz="1100" dirty="0">
                <a:solidFill>
                  <a:srgbClr val="000000"/>
                </a:solidFill>
              </a:rPr>
              <a:t>Neues System mit neuen </a:t>
            </a:r>
            <a:r>
              <a:rPr lang="de-DE" sz="1100" dirty="0" err="1">
                <a:solidFill>
                  <a:srgbClr val="000000"/>
                </a:solidFill>
              </a:rPr>
              <a:t>Spleißzylindern</a:t>
            </a:r>
            <a:r>
              <a:rPr lang="de-DE" sz="1100" dirty="0">
                <a:solidFill>
                  <a:srgbClr val="000000"/>
                </a:solidFill>
              </a:rPr>
              <a:t>:</a:t>
            </a:r>
          </a:p>
          <a:p>
            <a:pPr marL="479822" lvl="2" indent="-136922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de-DE" sz="1100" dirty="0">
                <a:solidFill>
                  <a:srgbClr val="000000"/>
                </a:solidFill>
              </a:rPr>
              <a:t>Das neue System besteht aus neuen </a:t>
            </a:r>
            <a:r>
              <a:rPr lang="de-DE" sz="1100" dirty="0" err="1">
                <a:solidFill>
                  <a:srgbClr val="000000"/>
                </a:solidFill>
              </a:rPr>
              <a:t>Pneumatikzylindern</a:t>
            </a:r>
            <a:r>
              <a:rPr lang="de-DE" sz="1100" dirty="0">
                <a:solidFill>
                  <a:srgbClr val="000000"/>
                </a:solidFill>
              </a:rPr>
              <a:t> von Festo. In der Regel werden 2 Zylinder für Klingen und 2 für Pads für jede </a:t>
            </a:r>
            <a:r>
              <a:rPr lang="de-DE" sz="1100" dirty="0" err="1">
                <a:solidFill>
                  <a:srgbClr val="000000"/>
                </a:solidFill>
              </a:rPr>
              <a:t>Spleißeinheit</a:t>
            </a:r>
            <a:r>
              <a:rPr lang="de-DE" sz="1100" dirty="0">
                <a:solidFill>
                  <a:srgbClr val="000000"/>
                </a:solidFill>
              </a:rPr>
              <a:t> installiert.</a:t>
            </a:r>
          </a:p>
          <a:p>
            <a:pPr marL="479822" lvl="2" indent="-136922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de-DE" sz="1100" dirty="0">
                <a:solidFill>
                  <a:srgbClr val="000000"/>
                </a:solidFill>
              </a:rPr>
              <a:t>Umfasst neue Pad-Montageplatten, neue Klingen-Montageplatten, Anschlüsse und Nachrüstmaterial.</a:t>
            </a:r>
          </a:p>
        </p:txBody>
      </p:sp>
      <p:pic>
        <p:nvPicPr>
          <p:cNvPr id="17" name="Immagine 10" descr="Immagine che contiene strada, esterni, cielo&#10;&#10;Descrizione generata con affidabilità elevata">
            <a:extLst>
              <a:ext uri="{FF2B5EF4-FFF2-40B4-BE49-F238E27FC236}">
                <a16:creationId xmlns:a16="http://schemas.microsoft.com/office/drawing/2014/main" id="{410231ED-BFBA-46F6-8F70-CB896F619497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3267" y="3845898"/>
            <a:ext cx="1604133" cy="1903412"/>
          </a:xfrm>
          <a:prstGeom prst="rect">
            <a:avLst/>
          </a:prstGeom>
        </p:spPr>
      </p:pic>
      <p:pic>
        <p:nvPicPr>
          <p:cNvPr id="18" name="Immagine 11">
            <a:extLst>
              <a:ext uri="{FF2B5EF4-FFF2-40B4-BE49-F238E27FC236}">
                <a16:creationId xmlns:a16="http://schemas.microsoft.com/office/drawing/2014/main" id="{E96B1792-2402-4C73-BD97-5FEF4B3DDCFF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99279" y="3788718"/>
            <a:ext cx="1614216" cy="20177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14872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Sidel_Template_4x3_with add layouts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16x9" id="{A098592D-B958-4201-9F7A-F56BD286F0F5}" vid="{18881033-C2EC-44D5-BF8A-51D73B1B5DB0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idel_Template_16x9_SHORT_2019</Template>
  <TotalTime>4708</TotalTime>
  <Words>193</Words>
  <Application>Microsoft Office PowerPoint</Application>
  <PresentationFormat>On-screen Show (4:3)</PresentationFormat>
  <Paragraphs>1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宋体</vt:lpstr>
      <vt:lpstr>Arial</vt:lpstr>
      <vt:lpstr>Wingdings</vt:lpstr>
      <vt:lpstr>NewSidel_Template_4x3_with add layouts</vt:lpstr>
      <vt:lpstr>think-cell Folie</vt:lpstr>
      <vt:lpstr>Vorbeugen von Lieferengpässen bei Ersatzteilen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&amp;C Commercial Price</dc:title>
  <dc:creator>Luca.Moschini@sidel.com</dc:creator>
  <cp:lastModifiedBy>Sorega, Dan</cp:lastModifiedBy>
  <cp:revision>292</cp:revision>
  <dcterms:created xsi:type="dcterms:W3CDTF">2019-02-20T10:39:16Z</dcterms:created>
  <dcterms:modified xsi:type="dcterms:W3CDTF">2020-11-05T11:35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Ref">
    <vt:lpwstr>https://api.informationprotection.azure.com/api/2390cbd1-e663-4321-bc93-ba298637ce52</vt:lpwstr>
  </property>
  <property fmtid="{D5CDD505-2E9C-101B-9397-08002B2CF9AE}" pid="7" name="MSIP_Label_94480757-a570-4f64-84e7-c5b3ffe9d573_Owner">
    <vt:lpwstr>100877@sidel.com</vt:lpwstr>
  </property>
  <property fmtid="{D5CDD505-2E9C-101B-9397-08002B2CF9AE}" pid="8" name="MSIP_Label_94480757-a570-4f64-84e7-c5b3ffe9d573_SetDate">
    <vt:lpwstr>2019-04-08T19:18:40.1898798+02:00</vt:lpwstr>
  </property>
  <property fmtid="{D5CDD505-2E9C-101B-9397-08002B2CF9AE}" pid="9" name="MSIP_Label_94480757-a570-4f64-84e7-c5b3ffe9d573_Name">
    <vt:lpwstr>General</vt:lpwstr>
  </property>
  <property fmtid="{D5CDD505-2E9C-101B-9397-08002B2CF9AE}" pid="10" name="MSIP_Label_94480757-a570-4f64-84e7-c5b3ffe9d573_Application">
    <vt:lpwstr>Microsoft Azure Information Protection</vt:lpwstr>
  </property>
  <property fmtid="{D5CDD505-2E9C-101B-9397-08002B2CF9AE}" pid="11" name="MSIP_Label_94480757-a570-4f64-84e7-c5b3ffe9d573_Extended_MSFT_Method">
    <vt:lpwstr>Automatic</vt:lpwstr>
  </property>
  <property fmtid="{D5CDD505-2E9C-101B-9397-08002B2CF9AE}" pid="12" name="Sensitivity">
    <vt:lpwstr>General</vt:lpwstr>
  </property>
</Properties>
</file>